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xlsb" ContentType="application/vnd.ms-excel.sheet.binary.macroEnabled.12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205.xml" ContentType="application/vnd.openxmlformats-officedocument.presentationml.slide+xml"/>
  <Override PartName="/ppt/tags/tag1088.xml" ContentType="application/vnd.openxmlformats-officedocument.presentationml.tags+xml"/>
  <Override PartName="/ppt/tags/tag1093.xml" ContentType="application/vnd.openxmlformats-officedocument.presentationml.tags+xml"/>
  <Override PartName="/ppt/tags/tag1098.xml" ContentType="application/vnd.openxmlformats-officedocument.presentationml.tags+xml"/>
  <Override PartName="/ppt/tags/tag1083.xml" ContentType="application/vnd.openxmlformats-officedocument.presentationml.tags+xml"/>
  <Override PartName="/ppt/notesSlides/notesSlide20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087.xml" ContentType="application/vnd.openxmlformats-officedocument.presentationml.tags+xml"/>
  <Override PartName="/ppt/tags/tag1092.xml" ContentType="application/vnd.openxmlformats-officedocument.presentationml.tags+xml"/>
  <Override PartName="/ppt/tags/tag1097.xml" ContentType="application/vnd.openxmlformats-officedocument.presentationml.tags+xml"/>
  <Override PartName="/ppt/charts/chart38.xml" ContentType="application/vnd.openxmlformats-officedocument.drawingml.chart+xml"/>
  <Override PartName="/ppt/tags/tag1082.xml" ContentType="application/vnd.openxmlformats-officedocument.presentationml.tags+xml"/>
  <Override PartName="/ppt/tags/tag1096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086.xml" ContentType="application/vnd.openxmlformats-officedocument.presentationml.tags+xml"/>
  <Override PartName="/ppt/tags/tag1091.xml" ContentType="application/vnd.openxmlformats-officedocument.presentationml.tags+xml"/>
  <Override PartName="/ppt/charts/chart37.xml" ContentType="application/vnd.openxmlformats-officedocument.drawingml.chart+xml"/>
  <Override PartName="/ppt/tags/tag1085.xml" ContentType="application/vnd.openxmlformats-officedocument.presentationml.tags+xml"/>
  <Override PartName="/ppt/tags/tag1095.xml" ContentType="application/vnd.openxmlformats-officedocument.presentationml.tags+xml"/>
  <Override PartName="/ppt/tags/tag1090.xml" ContentType="application/vnd.openxmlformats-officedocument.presentationml.tags+xml"/>
  <Override PartName="/ppt/tags/tag1099.xml" ContentType="application/vnd.openxmlformats-officedocument.presentationml.tags+xml"/>
  <Override PartName="/ppt/tags/tag1084.xml" ContentType="application/vnd.openxmlformats-officedocument.presentationml.tags+xml"/>
  <Override PartName="/ppt/tags/tag1089.xml" ContentType="application/vnd.openxmlformats-officedocument.presentationml.tags+xml"/>
  <Override PartName="/ppt/tags/tag1094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02" r:id="rId20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205.xml" Id="rId208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37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36.xlsb" Id="rId1" /></Relationships>
</file>

<file path=ppt/charts/_rels/chart38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37.xlsb" Id="rId1" /></Relationships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455121436114043E-2"/>
          <c:y val="7.6224328593996846E-2"/>
          <c:w val="0.94508975712777188"/>
          <c:h val="0.8475513428120062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526927138331573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63E-4D61-822E-50B8F7534177}"/>
                </c:ext>
              </c:extLst>
            </c:dLbl>
            <c:dLbl>
              <c:idx val="1"/>
              <c:layout>
                <c:manualLayout>
                  <c:x val="0.2344244984160506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63E-4D61-822E-50B8F7534177}"/>
                </c:ext>
              </c:extLst>
            </c:dLbl>
            <c:dLbl>
              <c:idx val="2"/>
              <c:layout>
                <c:manualLayout>
                  <c:x val="0.3336853220696937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63E-4D61-822E-50B8F7534177}"/>
                </c:ext>
              </c:extLst>
            </c:dLbl>
            <c:dLbl>
              <c:idx val="3"/>
              <c:layout>
                <c:manualLayout>
                  <c:x val="0.3637803590285110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63E-4D61-822E-50B8F7534177}"/>
                </c:ext>
              </c:extLst>
            </c:dLbl>
            <c:dLbl>
              <c:idx val="4"/>
              <c:layout>
                <c:manualLayout>
                  <c:x val="0.28986272439281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63E-4D61-822E-50B8F753417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2.9</c:v>
                </c:pt>
                <c:pt idx="1">
                  <c:v>8.4</c:v>
                </c:pt>
                <c:pt idx="2">
                  <c:v>12.1</c:v>
                </c:pt>
                <c:pt idx="3">
                  <c:v>13.4</c:v>
                </c:pt>
                <c:pt idx="4">
                  <c:v>10.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63E-4D61-822E-50B8F75341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7283184"/>
        <c:axId val="1"/>
      </c:barChart>
      <c:catAx>
        <c:axId val="3372831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3372831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225130890052355E-2"/>
          <c:y val="7.6224328593996846E-2"/>
          <c:w val="0.9455497382198953"/>
          <c:h val="0.8475513428120062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560209424083769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096-4DDD-B047-12110B015813}"/>
                </c:ext>
              </c:extLst>
            </c:dLbl>
            <c:dLbl>
              <c:idx val="1"/>
              <c:layout>
                <c:manualLayout>
                  <c:x val="0.2890052356020942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096-4DDD-B047-12110B015813}"/>
                </c:ext>
              </c:extLst>
            </c:dLbl>
            <c:dLbl>
              <c:idx val="2"/>
              <c:layout>
                <c:manualLayout>
                  <c:x val="0.2026178010471204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096-4DDD-B047-12110B015813}"/>
                </c:ext>
              </c:extLst>
            </c:dLbl>
            <c:dLbl>
              <c:idx val="3"/>
              <c:layout>
                <c:manualLayout>
                  <c:x val="0.2455497382198952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096-4DDD-B047-12110B015813}"/>
                </c:ext>
              </c:extLst>
            </c:dLbl>
            <c:dLbl>
              <c:idx val="4"/>
              <c:layout>
                <c:manualLayout>
                  <c:x val="0.4120418848167539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096-4DDD-B047-12110B01581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.0999999999999996</c:v>
                </c:pt>
                <c:pt idx="1">
                  <c:v>10.199999999999999</c:v>
                </c:pt>
                <c:pt idx="2">
                  <c:v>7.2</c:v>
                </c:pt>
                <c:pt idx="3">
                  <c:v>8.9</c:v>
                </c:pt>
                <c:pt idx="4">
                  <c:v>1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096-4DDD-B047-12110B015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7285984"/>
        <c:axId val="1"/>
      </c:barChart>
      <c:catAx>
        <c:axId val="3372859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3372859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0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05.xml.rels>&#65279;<?xml version="1.0" encoding="utf-8"?><Relationships xmlns="http://schemas.openxmlformats.org/package/2006/relationships"><Relationship Type="http://schemas.openxmlformats.org/officeDocument/2006/relationships/slide" Target="/ppt/slides/slide205.xml" Id="rId2" /><Relationship Type="http://schemas.openxmlformats.org/officeDocument/2006/relationships/notesMaster" Target="/ppt/notesMasters/notesMaster1.xml" Id="rId1" /></Relationships>
</file>

<file path=ppt/notesSlides/notesSlide2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04681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05.xml.rels>&#65279;<?xml version="1.0" encoding="utf-8"?><Relationships xmlns="http://schemas.openxmlformats.org/package/2006/relationships"><Relationship Type="http://schemas.openxmlformats.org/officeDocument/2006/relationships/tags" Target="/ppt/tags/tag1088.xml" Id="rId8" /><Relationship Type="http://schemas.openxmlformats.org/officeDocument/2006/relationships/tags" Target="/ppt/tags/tag1093.xml" Id="rId13" /><Relationship Type="http://schemas.openxmlformats.org/officeDocument/2006/relationships/tags" Target="/ppt/tags/tag1098.xml" Id="rId18" /><Relationship Type="http://schemas.openxmlformats.org/officeDocument/2006/relationships/tags" Target="/ppt/tags/tag1083.xml" Id="rId3" /><Relationship Type="http://schemas.openxmlformats.org/officeDocument/2006/relationships/notesSlide" Target="/ppt/notesSlides/notesSlide205.xml" Id="rId21" /><Relationship Type="http://schemas.openxmlformats.org/officeDocument/2006/relationships/tags" Target="/ppt/tags/tag1087.xml" Id="rId7" /><Relationship Type="http://schemas.openxmlformats.org/officeDocument/2006/relationships/tags" Target="/ppt/tags/tag1092.xml" Id="rId12" /><Relationship Type="http://schemas.openxmlformats.org/officeDocument/2006/relationships/tags" Target="/ppt/tags/tag1097.xml" Id="rId17" /><Relationship Type="http://schemas.openxmlformats.org/officeDocument/2006/relationships/chart" Target="/ppt/charts/chart38.xml" Id="rId25" /><Relationship Type="http://schemas.openxmlformats.org/officeDocument/2006/relationships/tags" Target="/ppt/tags/tag1082.xml" Id="rId2" /><Relationship Type="http://schemas.openxmlformats.org/officeDocument/2006/relationships/tags" Target="/ppt/tags/tag1096.xml" Id="rId16" /><Relationship Type="http://schemas.openxmlformats.org/officeDocument/2006/relationships/slideLayout" Target="/ppt/slideLayouts/slideLayout5.xml" Id="rId20" /><Relationship Type="http://schemas.openxmlformats.org/officeDocument/2006/relationships/vmlDrawing" Target="/ppt/drawings/vmlDrawing209.vml" Id="rId1" /><Relationship Type="http://schemas.openxmlformats.org/officeDocument/2006/relationships/tags" Target="/ppt/tags/tag1086.xml" Id="rId6" /><Relationship Type="http://schemas.openxmlformats.org/officeDocument/2006/relationships/tags" Target="/ppt/tags/tag1091.xml" Id="rId11" /><Relationship Type="http://schemas.openxmlformats.org/officeDocument/2006/relationships/chart" Target="/ppt/charts/chart37.xml" Id="rId24" /><Relationship Type="http://schemas.openxmlformats.org/officeDocument/2006/relationships/tags" Target="/ppt/tags/tag1085.xml" Id="rId5" /><Relationship Type="http://schemas.openxmlformats.org/officeDocument/2006/relationships/tags" Target="/ppt/tags/tag1095.xml" Id="rId15" /><Relationship Type="http://schemas.openxmlformats.org/officeDocument/2006/relationships/image" Target="/ppt/media/image4.emf" Id="rId23" /><Relationship Type="http://schemas.openxmlformats.org/officeDocument/2006/relationships/tags" Target="/ppt/tags/tag1090.xml" Id="rId10" /><Relationship Type="http://schemas.openxmlformats.org/officeDocument/2006/relationships/tags" Target="/ppt/tags/tag1099.xml" Id="rId19" /><Relationship Type="http://schemas.openxmlformats.org/officeDocument/2006/relationships/tags" Target="/ppt/tags/tag1084.xml" Id="rId4" /><Relationship Type="http://schemas.openxmlformats.org/officeDocument/2006/relationships/tags" Target="/ppt/tags/tag1089.xml" Id="rId9" /><Relationship Type="http://schemas.openxmlformats.org/officeDocument/2006/relationships/tags" Target="/ppt/tags/tag1094.xml" Id="rId14" /><Relationship Type="http://schemas.openxmlformats.org/officeDocument/2006/relationships/oleObject" Target="/ppt/embeddings/oleObject209.bin" Id="rId22" /></Relationships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953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5" name="think-cell 幻灯片" r:id="rId22" imgW="349" imgH="350" progId="TCLayout.ActiveDocument.1">
                  <p:embed/>
                </p:oleObj>
              </mc:Choice>
              <mc:Fallback>
                <p:oleObj name="think-cell 幻灯片" r:id="rId2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Item comparison: Bar II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797C923-9F7B-153F-A9FD-FB3D74C6416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8199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olumns, bar, bars, think-cell, chart, charts, graph, graphs, comment</a:t>
            </a:r>
          </a:p>
        </p:txBody>
      </p:sp>
      <p:graphicFrame>
        <p:nvGraphicFramePr>
          <p:cNvPr id="32" name="Chart 3">
            <a:extLst>
              <a:ext uri="{FF2B5EF4-FFF2-40B4-BE49-F238E27FC236}">
                <a16:creationId xmlns:a16="http://schemas.microsoft.com/office/drawing/2014/main" id="{1ACA2FD6-0307-44C6-A4BF-2C92EC03720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64347560"/>
              </p:ext>
            </p:extLst>
          </p:nvPr>
        </p:nvGraphicFramePr>
        <p:xfrm>
          <a:off x="1285875" y="1912938"/>
          <a:ext cx="3006725" cy="4019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6" name="Arrow: Right 15">
            <a:extLst>
              <a:ext uri="{FF2B5EF4-FFF2-40B4-BE49-F238E27FC236}">
                <a16:creationId xmlns:a16="http://schemas.microsoft.com/office/drawing/2014/main" id="{52A724D0-57BD-661C-A482-61DFDCDEFFF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2924175" y="56642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BEE291F-C2E0-E93B-7D6D-0A7F105D9429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2987675" y="2219325"/>
            <a:ext cx="0" cy="2959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AEA8B1A2-4C74-1C57-6CEA-1FD81AF7B79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2987675" y="5391149"/>
            <a:ext cx="0" cy="234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6FCA9008-5CB4-0E84-D7B6-20FDEFDF674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63663" y="1858963"/>
            <a:ext cx="846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Product A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09B55B9E-075F-5B0C-BCEC-5F14FD915F9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6549" y="2452688"/>
            <a:ext cx="914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A1D6A7D-E931-4885-8E4E-B36F2B7AD08F}" type="datetime'Cr''''''it''''''er''''''''''i''''''''o''''''''''''''n ''A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iterion A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104231C2-CF60-C433-BBBE-7B226D2F9BB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39725" y="3133725"/>
            <a:ext cx="911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1A24F17-2727-4866-890E-AEBDEC1C198B}" type="datetime'''C''''''r''''''''''ite''r''''''''''i''''o''''n ''''''''B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iterion B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08395F6C-4F1C-9605-C01F-73EACC33937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0199" y="3814763"/>
            <a:ext cx="920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7DE153-C41C-4979-8707-04C010D1B167}" type="datetime'C''ri''t''er''i''on'' ''''''''''''''''''''C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iterion C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91C4BFFA-2270-C9C7-6D35-4DEAF1B9FD2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7025" y="4497388"/>
            <a:ext cx="923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C847A49-B532-48D9-9891-2FC45FE11ECF}" type="datetime'''''''''Cri''''''''te''''''''''r''i''''''''on D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iterion D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17B434CC-1882-F295-7DDA-13AFFE0F2DE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49250" y="5178425"/>
            <a:ext cx="901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9A3D68F-4AC9-4FB8-A20C-FB9B387E130A}" type="datetime'''''''C''''''r''''''''''ite''r''''''i''o''n'' ''''''''E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iterion E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65411E20-4E82-6518-08FC-1809315FD87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814638" y="5856288"/>
            <a:ext cx="3444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Ø </a:t>
            </a:r>
            <a:fld id="{0E534269-24B7-49E5-A098-5DA5D71320FA}" type="datetime'''''''''''''11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D5DB9665-5DED-423D-84E4-55896E5015FA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4533784"/>
              </p:ext>
            </p:extLst>
          </p:nvPr>
        </p:nvGraphicFramePr>
        <p:xfrm>
          <a:off x="4327525" y="1912938"/>
          <a:ext cx="3032125" cy="4019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76" name="Arrow: Right 75">
            <a:extLst>
              <a:ext uri="{FF2B5EF4-FFF2-40B4-BE49-F238E27FC236}">
                <a16:creationId xmlns:a16="http://schemas.microsoft.com/office/drawing/2014/main" id="{A5422730-68F8-0394-D969-7BC8F94405F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 rot="16200000">
            <a:off x="5688013" y="56642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C2D444E-3689-2691-A370-8ACE8296910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5751513" y="2219325"/>
            <a:ext cx="0" cy="22780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8E3E00-D31E-58D8-EBE5-F277599127B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5751513" y="4710112"/>
            <a:ext cx="0" cy="9159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405313" y="1858963"/>
            <a:ext cx="842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Product B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CEB90AC3-CA0F-D08F-6E87-71C90E43724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597525" y="5856288"/>
            <a:ext cx="306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Ø </a:t>
            </a:r>
            <a:fld id="{8D71C50D-9F64-4E11-B751-CB26B9C954BC}" type="datetime'''9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3" name="Rechteck 137">
            <a:extLst>
              <a:ext uri="{FF2B5EF4-FFF2-40B4-BE49-F238E27FC236}">
                <a16:creationId xmlns:a16="http://schemas.microsoft.com/office/drawing/2014/main" id="{B20862FE-4DDF-C465-AD48-76B18C55BA4B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24" name="tc_columnheader">
            <a:extLst>
              <a:ext uri="{FF2B5EF4-FFF2-40B4-BE49-F238E27FC236}">
                <a16:creationId xmlns:a16="http://schemas.microsoft.com/office/drawing/2014/main" id="{E28719CA-9CAC-0EA4-B7C0-5760E0F2AB74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6" name="tc_columnhead">
              <a:extLst>
                <a:ext uri="{FF2B5EF4-FFF2-40B4-BE49-F238E27FC236}">
                  <a16:creationId xmlns:a16="http://schemas.microsoft.com/office/drawing/2014/main" id="{5CA7CDCE-221A-0714-7360-ADAC5007858E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27" name="tc_columnheadline">
              <a:extLst>
                <a:ext uri="{FF2B5EF4-FFF2-40B4-BE49-F238E27FC236}">
                  <a16:creationId xmlns:a16="http://schemas.microsoft.com/office/drawing/2014/main" id="{FF1019F7-572C-0F19-C3B0-52E15EABA7C8}"/>
                </a:ext>
              </a:extLst>
            </p:cNvPr>
            <p:cNvCxnSpPr>
              <a:cxnSpLocks/>
              <a:stCxn id="26" idx="4"/>
              <a:endCxn id="26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tc_columnheader">
            <a:extLst>
              <a:ext uri="{FF2B5EF4-FFF2-40B4-BE49-F238E27FC236}">
                <a16:creationId xmlns:a16="http://schemas.microsoft.com/office/drawing/2014/main" id="{5189801A-1E09-0A68-23CD-CC8628B4885B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30" name="tc_columnhead">
              <a:extLst>
                <a:ext uri="{FF2B5EF4-FFF2-40B4-BE49-F238E27FC236}">
                  <a16:creationId xmlns:a16="http://schemas.microsoft.com/office/drawing/2014/main" id="{B2E5128E-B3AC-50DF-159F-CF24FCA322CF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31" name="tc_columnheadline">
              <a:extLst>
                <a:ext uri="{FF2B5EF4-FFF2-40B4-BE49-F238E27FC236}">
                  <a16:creationId xmlns:a16="http://schemas.microsoft.com/office/drawing/2014/main" id="{0310F92A-FF9E-2BC5-F9AA-B9F39881538A}"/>
                </a:ext>
              </a:extLst>
            </p:cNvPr>
            <p:cNvCxnSpPr>
              <a:cxnSpLocks/>
              <a:stCxn id="30" idx="4"/>
              <a:endCxn id="3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18">
            <a:extLst>
              <a:ext uri="{FF2B5EF4-FFF2-40B4-BE49-F238E27FC236}">
                <a16:creationId xmlns:a16="http://schemas.microsoft.com/office/drawing/2014/main" id="{3EFD0457-092B-6251-3B2E-4C2DD78F634C}"/>
              </a:ext>
            </a:extLst>
          </p:cNvPr>
          <p:cNvSpPr>
            <a:spLocks/>
          </p:cNvSpPr>
          <p:nvPr/>
        </p:nvSpPr>
        <p:spPr>
          <a:xfrm>
            <a:off x="8811106" y="-1359992"/>
            <a:ext cx="4575600" cy="1919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 dirty="0">
                <a:solidFill>
                  <a:schemeClr val="tx1"/>
                </a:solidFill>
              </a:rPr>
              <a:t>This slide contains </a:t>
            </a:r>
            <a:r>
              <a:rPr lang="en-US" sz="1200" b="1" u="sng" dirty="0">
                <a:solidFill>
                  <a:schemeClr val="tx1"/>
                </a:solidFill>
              </a:rPr>
              <a:t>think-cell charts</a:t>
            </a:r>
            <a:r>
              <a:rPr lang="en-US" sz="1200" u="sng" dirty="0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</a:t>
            </a:r>
            <a:r>
              <a:rPr lang="en-US" sz="1200" b="1" dirty="0">
                <a:solidFill>
                  <a:schemeClr val="tx1"/>
                </a:solidFill>
              </a:rPr>
              <a:t> open a chart's internal datasheet</a:t>
            </a:r>
            <a:r>
              <a:rPr lang="en-US" sz="1200" dirty="0">
                <a:solidFill>
                  <a:schemeClr val="tx1"/>
                </a:solidFill>
              </a:rPr>
              <a:t>, double-click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any empty space in the chart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add annotations </a:t>
            </a:r>
            <a:r>
              <a:rPr lang="en-US" sz="1200" dirty="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right-click a chart or a chart feature to open the context menu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change the style and formatting</a:t>
            </a:r>
            <a:r>
              <a:rPr lang="en-US" sz="1200" dirty="0">
                <a:solidFill>
                  <a:schemeClr val="tx1"/>
                </a:solidFill>
              </a:rPr>
              <a:t> of a chart or a feature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click the chart or feature to open the mini toolbar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cs typeface="Arial"/>
              </a:rPr>
              <a:t>To ensure both charts have the same scale, select both sets of bars, right-click to open the context menu, and select </a:t>
            </a:r>
            <a:r>
              <a:rPr lang="en-US" sz="1200" b="1" dirty="0">
                <a:solidFill>
                  <a:schemeClr val="tx1"/>
                </a:solidFill>
                <a:cs typeface="Arial"/>
              </a:rPr>
              <a:t>Set Same Scale</a:t>
            </a:r>
            <a:r>
              <a:rPr lang="en-US" sz="1200" dirty="0">
                <a:solidFill>
                  <a:schemeClr val="tx1"/>
                </a:solidFill>
                <a:cs typeface="Arial"/>
              </a:rPr>
              <a:t>.</a:t>
            </a:r>
            <a:endParaRPr lang="en-US" sz="1200" b="1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231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LVp6_nStwJs5.ItYJ9vw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Gu2hyYe.sSBVzKZi7qQQ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4r0XxZ5SoyWR9aCOwNyg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TTPwEZemajrGqAR0cj7A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KYRqyfHMkkYNOmnlksxQ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_jrapfw4eH6INRYIPIRQ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yrMQ4MhvSIljrvR8vSMg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KAT5CrOBHAXNW9opKzDg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dNpCwDqwjIucqB2UScNA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3RiON9EQyH4vqK2_uFCg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UqM4BbySBrg7NnrR8DG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mznB_blKAeaZiYjWvQ_w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R3BFDmdHH2d0Q_QyEr9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0UWY0LHxGjRlMdxF9Vw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zy9RRS37wuvniJDeWuB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cKGT8b.l2XrFqkYkqoHw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OtzcCHzJ0eLuZ4_chZ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